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B00000"/>
    <a:srgbClr val="7F0000"/>
    <a:srgbClr val="FF8989"/>
    <a:srgbClr val="D9D9D9"/>
    <a:srgbClr val="A1A1A1"/>
    <a:srgbClr val="40404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PS)" userId="79615dfe-ed48-4e74-a40f-4f7b034c1c27" providerId="ADAL" clId="{06063CA0-AEE8-4F27-859A-97DB1F593625}"/>
    <pc:docChg chg="modSld">
      <pc:chgData name="Meyer Raphael (PAR-EPS)" userId="79615dfe-ed48-4e74-a40f-4f7b034c1c27" providerId="ADAL" clId="{06063CA0-AEE8-4F27-859A-97DB1F593625}" dt="2026-02-20T11:06:03.038" v="13" actId="27918"/>
      <pc:docMkLst>
        <pc:docMk/>
      </pc:docMkLst>
      <pc:sldChg chg="mod">
        <pc:chgData name="Meyer Raphael (PAR-EPS)" userId="79615dfe-ed48-4e74-a40f-4f7b034c1c27" providerId="ADAL" clId="{06063CA0-AEE8-4F27-859A-97DB1F593625}" dt="2026-02-20T11:06:03.038" v="13" actId="27918"/>
        <pc:sldMkLst>
          <pc:docMk/>
          <pc:sldMk cId="1659961403" sldId="399"/>
        </pc:sldMkLst>
      </pc:sldChg>
    </pc:docChg>
  </pc:docChgLst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0:15:04.669" v="18"/>
      <pc:docMkLst>
        <pc:docMk/>
      </pc:docMkLst>
      <pc:sldChg chg="modSp mod">
        <pc:chgData name="Weigel Stefan (PAR-EPS)" userId="fd3b2067-2981-4ad8-bf3a-d2e1004e4fa8" providerId="ADAL" clId="{A4CFA2F4-FF8D-446B-B271-6DF568DBEADA}" dt="2026-02-12T10:15:04.669" v="18"/>
        <pc:sldMkLst>
          <pc:docMk/>
          <pc:sldMk cId="1659961403" sldId="399"/>
        </pc:sldMkLst>
        <pc:spChg chg="mod">
          <ac:chgData name="Weigel Stefan (PAR-EPS)" userId="fd3b2067-2981-4ad8-bf3a-d2e1004e4fa8" providerId="ADAL" clId="{A4CFA2F4-FF8D-446B-B271-6DF568DBEADA}" dt="2026-02-12T10:02:00.806" v="9" actId="20577"/>
          <ac:spMkLst>
            <pc:docMk/>
            <pc:sldMk cId="1659961403" sldId="399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2T10:15:04.669" v="18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Bahnstromverbrauch Personen- und Güterverkehr SBB</c:v>
                </c:pt>
                <c:pt idx="1">
                  <c:v>Bahnstromeigenverbrauch Infrastruktur Netz</c:v>
                </c:pt>
                <c:pt idx="2">
                  <c:v>Bahnstromeigenverbrauch Infrastruktur Energie</c:v>
                </c:pt>
                <c:pt idx="3">
                  <c:v>Strom für Gebäude und Anlagen</c:v>
                </c:pt>
                <c:pt idx="4">
                  <c:v>Treibstoff für Bahntraktion</c:v>
                </c:pt>
                <c:pt idx="5">
                  <c:v>Kraftstoff für Strassenfahrzeuge, Maschinen und Geräte</c:v>
                </c:pt>
                <c:pt idx="6">
                  <c:v>Wärmeenergie für Gebäude und Anlagen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87.1480083680001</c:v>
                </c:pt>
                <c:pt idx="1">
                  <c:v>104.64253017199999</c:v>
                </c:pt>
                <c:pt idx="2">
                  <c:v>189.66059999999999</c:v>
                </c:pt>
                <c:pt idx="3">
                  <c:v>275.43759451</c:v>
                </c:pt>
                <c:pt idx="4">
                  <c:v>89.409598519170103</c:v>
                </c:pt>
                <c:pt idx="5">
                  <c:v>25.284319791009299</c:v>
                </c:pt>
                <c:pt idx="6">
                  <c:v>167.6689792675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3015177378334406"/>
          <c:w val="0.87065602873911319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Bahnstrom</c:v>
                </c:pt>
                <c:pt idx="1">
                  <c:v>Bahnstromeigenverbrauch Infrastruktur Netz</c:v>
                </c:pt>
                <c:pt idx="2">
                  <c:v>Bahnstromeigenverbrauch Infrastruktur Energie</c:v>
                </c:pt>
                <c:pt idx="3">
                  <c:v>Strom für Gebäude und Anlagen</c:v>
                </c:pt>
                <c:pt idx="4">
                  <c:v>Treibstoff für Bahntraktion</c:v>
                </c:pt>
                <c:pt idx="5">
                  <c:v>Kraftstoff für Strassenfahrzeuge, Maschinen und Geräte</c:v>
                </c:pt>
                <c:pt idx="6">
                  <c:v>Wärmeenergie für Gebäude und Anlagen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330.5229325307801</c:v>
                </c:pt>
                <c:pt idx="1">
                  <c:v>82.523456994486594</c:v>
                </c:pt>
                <c:pt idx="2">
                  <c:v>149.57062240297901</c:v>
                </c:pt>
                <c:pt idx="3">
                  <c:v>217.21629291502799</c:v>
                </c:pt>
                <c:pt idx="4">
                  <c:v>18849.021439193199</c:v>
                </c:pt>
                <c:pt idx="5">
                  <c:v>6818.9822849477196</c:v>
                </c:pt>
                <c:pt idx="6">
                  <c:v>20287.06897493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nergie und Klima im 2025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22835252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ieverbrauch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reibhausgasemissionen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2789479859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61016CB2-E852-49A5-9C44-66E8DB1B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e und Klima im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e und Klima im 2024.</dc:title>
  <dc:creator>Meyer Raphael (KOM-PGA-VSF)</dc:creator>
  <cp:lastModifiedBy>Weigel Stefan (PAR-EPS)</cp:lastModifiedBy>
  <cp:revision>56</cp:revision>
  <cp:lastPrinted>2024-02-16T13:08:26Z</cp:lastPrinted>
  <dcterms:created xsi:type="dcterms:W3CDTF">2020-09-30T11:00:09Z</dcterms:created>
  <dcterms:modified xsi:type="dcterms:W3CDTF">2026-03-03T13:1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